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9509EB48-F72A-4ECB-8803-23A8A0A7F0C9}">
          <p14:sldIdLst>
            <p14:sldId id="2147475173"/>
            <p14:sldId id="2147475174"/>
            <p14:sldId id="2147475175"/>
            <p14:sldId id="2147475176"/>
            <p14:sldId id="2147475177"/>
            <p14:sldId id="2147475178"/>
            <p14:sldId id="2147475179"/>
            <p14:sldId id="2147475180"/>
            <p14:sldId id="2147475181"/>
          </p14:sldIdLst>
        </p14:section>
        <p14:section name="Brackets By Sector" id="{FB58B2D1-5D79-4EE3-BEB4-1167D3A399E1}">
          <p14:sldIdLst>
            <p14:sldId id="2147475182"/>
            <p14:sldId id="2147475183"/>
            <p14:sldId id="2147475184"/>
            <p14:sldId id="2147475185"/>
            <p14:sldId id="2147475186"/>
            <p14:sldId id="2147475187"/>
            <p14:sldId id="2147475188"/>
            <p14:sldId id="2147475189"/>
            <p14:sldId id="2147475190"/>
          </p14:sldIdLst>
        </p14:section>
        <p14:section name="Brackets By Segment" id="{6CB43AC0-F864-4FD1-B464-F02973DB012C}">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6</c:v>
                </c:pt>
                <c:pt idx="1">
                  <c:v>0.015499323616429531</c:v>
                </c:pt>
                <c:pt idx="2">
                  <c:v>0.020328229017232035</c:v>
                </c:pt>
                <c:pt idx="3">
                  <c:v>0.04426378969025742</c:v>
                </c:pt>
                <c:pt idx="4">
                  <c:v>0.06509450789254997</c:v>
                </c:pt>
                <c:pt idx="5">
                  <c:v>0.10204826864942469</c:v>
                </c:pt>
                <c:pt idx="6">
                  <c:v>0.12638325694294628</c:v>
                </c:pt>
                <c:pt idx="7">
                  <c:v>0.1760557863873334</c:v>
                </c:pt>
                <c:pt idx="8">
                  <c:v>0.25472703021903487</c:v>
                </c:pt>
                <c:pt idx="9">
                  <c:v>0.09896421392959569</c:v>
                </c:pt>
                <c:pt idx="10">
                  <c:v>0.0778377920130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78135798348714</c:v>
                </c:pt>
                <c:pt idx="3">
                  <c:v>0.004264468492051437</c:v>
                </c:pt>
                <c:pt idx="4">
                  <c:v>0.0007576376563286687</c:v>
                </c:pt>
                <c:pt idx="5">
                  <c:v>0.0030338525510822125</c:v>
                </c:pt>
                <c:pt idx="6">
                  <c:v>0.0026946235870550614</c:v>
                </c:pt>
                <c:pt idx="7">
                  <c:v>0.007365777178589765</c:v>
                </c:pt>
                <c:pt idx="8">
                  <c:v>0.00682760091441314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5</c:v>
                </c:pt>
                <c:pt idx="1">
                  <c:v>0.022440013185811045</c:v>
                </c:pt>
                <c:pt idx="2">
                  <c:v>0.025308299426034544</c:v>
                </c:pt>
                <c:pt idx="3">
                  <c:v>0.05376235000431037</c:v>
                </c:pt>
                <c:pt idx="4">
                  <c:v>0.06047976889902426</c:v>
                </c:pt>
                <c:pt idx="5">
                  <c:v>0.11906086687087766</c:v>
                </c:pt>
                <c:pt idx="6">
                  <c:v>0.13389055283916435</c:v>
                </c:pt>
                <c:pt idx="7">
                  <c:v>0.1893638304637976</c:v>
                </c:pt>
                <c:pt idx="8">
                  <c:v>0.20795372780999538</c:v>
                </c:pt>
                <c:pt idx="9">
                  <c:v>0.13703616353638812</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8</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c:v>
                </c:pt>
                <c:pt idx="2">
                  <c:v>0.017161497889988782</c:v>
                </c:pt>
                <c:pt idx="3">
                  <c:v>0.06657601141707845</c:v>
                </c:pt>
                <c:pt idx="4">
                  <c:v>0.04907978861913433</c:v>
                </c:pt>
                <c:pt idx="5">
                  <c:v>0.11852206218782732</c:v>
                </c:pt>
                <c:pt idx="6">
                  <c:v>0.13215882489295883</c:v>
                </c:pt>
                <c:pt idx="7">
                  <c:v>0.1798355664041859</c:v>
                </c:pt>
                <c:pt idx="8">
                  <c:v>0.23095884548151405</c:v>
                </c:pt>
                <c:pt idx="9">
                  <c:v>0.10991926140650649</c:v>
                </c:pt>
                <c:pt idx="10">
                  <c:v>0.068662076694817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25233796730798</c:v>
                </c:pt>
                <c:pt idx="2">
                  <c:v>0.00209474269316095</c:v>
                </c:pt>
                <c:pt idx="3">
                  <c:v>0.010539715045887483</c:v>
                </c:pt>
                <c:pt idx="4">
                  <c:v>0.006116471671888587</c:v>
                </c:pt>
                <c:pt idx="5">
                  <c:v>0.004638634252664015</c:v>
                </c:pt>
                <c:pt idx="6">
                  <c:v>0.0013922616492914946</c:v>
                </c:pt>
                <c:pt idx="7">
                  <c:v>0.012061574390215329</c:v>
                </c:pt>
                <c:pt idx="8">
                  <c:v>0.00186754538116509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78</c:v>
                </c:pt>
                <c:pt idx="2">
                  <c:v>0.021266939372631518</c:v>
                </c:pt>
                <c:pt idx="3">
                  <c:v>0.03945072467447183</c:v>
                </c:pt>
                <c:pt idx="4">
                  <c:v>0.051534564696052484</c:v>
                </c:pt>
                <c:pt idx="5">
                  <c:v>0.10248226676541282</c:v>
                </c:pt>
                <c:pt idx="6">
                  <c:v>0.13074905745117735</c:v>
                </c:pt>
                <c:pt idx="7">
                  <c:v>0.17785855434784298</c:v>
                </c:pt>
                <c:pt idx="8">
                  <c:v>0.2563887372525113</c:v>
                </c:pt>
                <c:pt idx="9">
                  <c:v>0.10346326897165924</c:v>
                </c:pt>
                <c:pt idx="10">
                  <c:v>0.0817657508124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86296548917224</c:v>
                </c:pt>
                <c:pt idx="6">
                  <c:v>0.0017245883591360195</c:v>
                </c:pt>
                <c:pt idx="7">
                  <c:v>0.003579290228227471</c:v>
                </c:pt>
                <c:pt idx="8">
                  <c:v>0.010563633147490141</c:v>
                </c:pt>
                <c:pt idx="9">
                  <c:v>0.001091824040073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3</c:v>
                </c:pt>
                <c:pt idx="7">
                  <c:v>0.128120390097668</c:v>
                </c:pt>
                <c:pt idx="8">
                  <c:v>0.22102038676692062</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437910048412846</c:v>
                </c:pt>
                <c:pt idx="6">
                  <c:v>0.0027918017038439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5</c:v>
                </c:pt>
                <c:pt idx="1">
                  <c:v>0.022440013185811045</c:v>
                </c:pt>
                <c:pt idx="2">
                  <c:v>0.025308299426034544</c:v>
                </c:pt>
                <c:pt idx="3">
                  <c:v>0.05376235000431037</c:v>
                </c:pt>
                <c:pt idx="4">
                  <c:v>0.06047976889902426</c:v>
                </c:pt>
                <c:pt idx="5">
                  <c:v>0.11906086687087766</c:v>
                </c:pt>
                <c:pt idx="6">
                  <c:v>0.13389055283916435</c:v>
                </c:pt>
                <c:pt idx="7">
                  <c:v>0.1893638304637976</c:v>
                </c:pt>
                <c:pt idx="8">
                  <c:v>0.20795372780999538</c:v>
                </c:pt>
                <c:pt idx="9">
                  <c:v>0.13703616353638812</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7174550950070865</c:v>
                </c:pt>
                <c:pt idx="8">
                  <c:v>0.008591496943341055</c:v>
                </c:pt>
                <c:pt idx="9">
                  <c:v>0.0013335077625645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8</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26462490913729043</c:v>
                </c:pt>
                <c:pt idx="5">
                  <c:v>0.06387838300374067</c:v>
                </c:pt>
                <c:pt idx="6">
                  <c:v>0.028663580958399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c:v>
                </c:pt>
                <c:pt idx="2">
                  <c:v>0.017161497889988782</c:v>
                </c:pt>
                <c:pt idx="3">
                  <c:v>0.06657601141707845</c:v>
                </c:pt>
                <c:pt idx="4">
                  <c:v>0.04907978861913433</c:v>
                </c:pt>
                <c:pt idx="5">
                  <c:v>0.11852206218782732</c:v>
                </c:pt>
                <c:pt idx="6">
                  <c:v>0.13215882489295883</c:v>
                </c:pt>
                <c:pt idx="7">
                  <c:v>0.1798355664041859</c:v>
                </c:pt>
                <c:pt idx="8">
                  <c:v>0.23095884548151405</c:v>
                </c:pt>
                <c:pt idx="9">
                  <c:v>0.10991926140650649</c:v>
                </c:pt>
                <c:pt idx="10">
                  <c:v>0.068662076694817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41210426330847</c:v>
                </c:pt>
                <c:pt idx="6">
                  <c:v>0.0029971364998719755</c:v>
                </c:pt>
                <c:pt idx="7">
                  <c:v>0.002931891519450244</c:v>
                </c:pt>
                <c:pt idx="8">
                  <c:v>0.016367929204173116</c:v>
                </c:pt>
                <c:pt idx="9">
                  <c:v>0.001883960984844454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9709188742891893</c:v>
                </c:pt>
                <c:pt idx="6">
                  <c:v>0.0150331181729193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725619934971639</c:v>
                </c:pt>
                <c:pt idx="3">
                  <c:v>0.008949046454423844</c:v>
                </c:pt>
                <c:pt idx="4">
                  <c:v>0.006129297074432178</c:v>
                </c:pt>
                <c:pt idx="5">
                  <c:v>0.024515893736835173</c:v>
                </c:pt>
                <c:pt idx="6">
                  <c:v>0.015661540441294683</c:v>
                </c:pt>
                <c:pt idx="7">
                  <c:v>0.05133844013659845</c:v>
                </c:pt>
                <c:pt idx="8">
                  <c:v>0.0577886738150891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6</c:v>
                </c:pt>
                <c:pt idx="6">
                  <c:v>0.1492795526346402</c:v>
                </c:pt>
                <c:pt idx="7">
                  <c:v>0.1322910637739103</c:v>
                </c:pt>
                <c:pt idx="8">
                  <c:v>0.3129947207790714</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4908400446714014</c:v>
                </c:pt>
                <c:pt idx="7">
                  <c:v>0.0018803708507033347</c:v>
                </c:pt>
                <c:pt idx="8">
                  <c:v>0.0043692749259969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29</c:v>
                </c:pt>
                <c:pt idx="6">
                  <c:v>0.10564996279910281</c:v>
                </c:pt>
                <c:pt idx="7">
                  <c:v>0.2091400357628276</c:v>
                </c:pt>
                <c:pt idx="8">
                  <c:v>0.18189208301942128</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88</c:v>
                </c:pt>
                <c:pt idx="2">
                  <c:v>0.010825272627964894</c:v>
                </c:pt>
                <c:pt idx="3">
                  <c:v>0.013085022230190355</c:v>
                </c:pt>
                <c:pt idx="4">
                  <c:v>0.0227156576849857</c:v>
                </c:pt>
                <c:pt idx="5">
                  <c:v>0.1524147583644131</c:v>
                </c:pt>
                <c:pt idx="6">
                  <c:v>0.132604613326913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4</c:v>
                </c:pt>
                <c:pt idx="4">
                  <c:v>0.052557201124251975</c:v>
                </c:pt>
                <c:pt idx="5">
                  <c:v>0.063701696813513</c:v>
                </c:pt>
                <c:pt idx="6">
                  <c:v>0.13085829476746524</c:v>
                </c:pt>
                <c:pt idx="7">
                  <c:v>0.1779074165462232</c:v>
                </c:pt>
                <c:pt idx="8">
                  <c:v>0.3818249301703123</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2</c:v>
                </c:pt>
                <c:pt idx="4">
                  <c:v>0.07359900122735238</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0743646429186058</c:v>
                </c:pt>
                <c:pt idx="3">
                  <c:v>0.03564450001734381</c:v>
                </c:pt>
                <c:pt idx="4">
                  <c:v>0.006332703713131765</c:v>
                </c:pt>
                <c:pt idx="5">
                  <c:v>0.02535841395269573</c:v>
                </c:pt>
                <c:pt idx="6">
                  <c:v>0.01714739853104838</c:v>
                </c:pt>
                <c:pt idx="7">
                  <c:v>0.054161420006419936</c:v>
                </c:pt>
                <c:pt idx="8">
                  <c:v>0.05324888805616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4</c:v>
                </c:pt>
                <c:pt idx="5">
                  <c:v>0.07925451566522052</c:v>
                </c:pt>
                <c:pt idx="6">
                  <c:v>0.10057809753875298</c:v>
                </c:pt>
                <c:pt idx="7">
                  <c:v>0.25267661121730906</c:v>
                </c:pt>
                <c:pt idx="8">
                  <c:v>0.2504997063205352</c:v>
                </c:pt>
                <c:pt idx="9">
                  <c:v>0.15719468225499186</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80604413649191</c:v>
                </c:pt>
                <c:pt idx="7">
                  <c:v>0.006310183683359255</c:v>
                </c:pt>
                <c:pt idx="8">
                  <c:v>0.0032546663136049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6</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66</c:v>
                </c:pt>
                <c:pt idx="5">
                  <c:v>0.14858554007140798</c:v>
                </c:pt>
                <c:pt idx="6">
                  <c:v>0.13431405689832426</c:v>
                </c:pt>
                <c:pt idx="7">
                  <c:v>0.1745916432563837</c:v>
                </c:pt>
                <c:pt idx="8">
                  <c:v>0.24859878263049723</c:v>
                </c:pt>
                <c:pt idx="9">
                  <c:v>0.15784269013818414</c:v>
                </c:pt>
                <c:pt idx="10">
                  <c:v>0.0064393273631220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c:v>
                </c:pt>
                <c:pt idx="2">
                  <c:v>0.03615258354433721</c:v>
                </c:pt>
                <c:pt idx="3">
                  <c:v>0.025469849750860748</c:v>
                </c:pt>
                <c:pt idx="4">
                  <c:v>0.06481388038274538</c:v>
                </c:pt>
                <c:pt idx="5">
                  <c:v>0.0851977002451823</c:v>
                </c:pt>
                <c:pt idx="6">
                  <c:v>0.17447621527054127</c:v>
                </c:pt>
                <c:pt idx="7">
                  <c:v>0.20259246306990594</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898</c:v>
                </c:pt>
                <c:pt idx="1">
                  <c:v>0.009922473300098737</c:v>
                </c:pt>
                <c:pt idx="2">
                  <c:v>0.01623409034129284</c:v>
                </c:pt>
                <c:pt idx="3">
                  <c:v>0.07892262515697393</c:v>
                </c:pt>
                <c:pt idx="4">
                  <c:v>0.061134484543004734</c:v>
                </c:pt>
                <c:pt idx="5">
                  <c:v>0.11702285157285876</c:v>
                </c:pt>
                <c:pt idx="6">
                  <c:v>0.1260705027379858</c:v>
                </c:pt>
                <c:pt idx="7">
                  <c:v>0.17930534937108047</c:v>
                </c:pt>
                <c:pt idx="8">
                  <c:v>0.228569980379285</c:v>
                </c:pt>
                <c:pt idx="9">
                  <c:v>0.10314664132259939</c:v>
                </c:pt>
                <c:pt idx="10">
                  <c:v>0.064204748541880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71834201411426</c:v>
                </c:pt>
                <c:pt idx="1">
                  <c:v>0.01733909455451033</c:v>
                </c:pt>
                <c:pt idx="2">
                  <c:v>0.030917818303169083</c:v>
                </c:pt>
                <c:pt idx="5">
                  <c:v>0.03726530710716553</c:v>
                </c:pt>
                <c:pt idx="6">
                  <c:v>0.028448033461384293</c:v>
                </c:pt>
                <c:pt idx="7">
                  <c:v>0.04432812257210345</c:v>
                </c:pt>
                <c:pt idx="8">
                  <c:v>0.0559890352893873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6</c:v>
                </c:pt>
                <c:pt idx="3">
                  <c:v>0.07568168528926024</c:v>
                </c:pt>
                <c:pt idx="4">
                  <c:v>0.0254269368312801</c:v>
                </c:pt>
                <c:pt idx="5">
                  <c:v>0.09477184033444332</c:v>
                </c:pt>
                <c:pt idx="6">
                  <c:v>0.12889598069765412</c:v>
                </c:pt>
                <c:pt idx="7">
                  <c:v>0.1342547122947091</c:v>
                </c:pt>
                <c:pt idx="8">
                  <c:v>0.32909591222530005</c:v>
                </c:pt>
                <c:pt idx="9">
                  <c:v>0.10836522028352405</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484324270327876</c:v>
                </c:pt>
                <c:pt idx="2">
                  <c:v>0.0038309291876119076</c:v>
                </c:pt>
                <c:pt idx="5">
                  <c:v>0.004641500429849126</c:v>
                </c:pt>
                <c:pt idx="6">
                  <c:v>0.00356517233722336</c:v>
                </c:pt>
                <c:pt idx="7">
                  <c:v>0.0059789257397110706</c:v>
                </c:pt>
                <c:pt idx="8">
                  <c:v>0.0076923045646172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1474044080606668</c:v>
                </c:pt>
                <c:pt idx="8">
                  <c:v>0.00488500958637164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3</c:v>
                </c:pt>
                <c:pt idx="5">
                  <c:v>0.08160342549782428</c:v>
                </c:pt>
                <c:pt idx="6">
                  <c:v>0.12296985512425648</c:v>
                </c:pt>
                <c:pt idx="7">
                  <c:v>0.20932020763186437</c:v>
                </c:pt>
                <c:pt idx="8">
                  <c:v>0.14848773889644468</c:v>
                </c:pt>
                <c:pt idx="9">
                  <c:v>0.133445457865428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6</c:v>
                </c:pt>
                <c:pt idx="9">
                  <c:v>0.1320239700897362</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8</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c:v>
                </c:pt>
                <c:pt idx="3">
                  <c:v>0.03843574548168264</c:v>
                </c:pt>
                <c:pt idx="4">
                  <c:v>0.09221361436269074</c:v>
                </c:pt>
                <c:pt idx="5">
                  <c:v>0.23543198442819935</c:v>
                </c:pt>
                <c:pt idx="6">
                  <c:v>0.18117729862300258</c:v>
                </c:pt>
                <c:pt idx="7">
                  <c:v>0.2036851891080378</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8206079859622176</c:v>
                </c:pt>
                <c:pt idx="4">
                  <c:v>0.013735802625934962</c:v>
                </c:pt>
                <c:pt idx="5">
                  <c:v>0.06158870680921726</c:v>
                </c:pt>
                <c:pt idx="6">
                  <c:v>0.02319507043178579</c:v>
                </c:pt>
                <c:pt idx="7">
                  <c:v>0.05900056563816069</c:v>
                </c:pt>
                <c:pt idx="8">
                  <c:v>0.02463078463108609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6</c:v>
                </c:pt>
                <c:pt idx="6">
                  <c:v>0.1492795526346402</c:v>
                </c:pt>
                <c:pt idx="7">
                  <c:v>0.1322910637739103</c:v>
                </c:pt>
                <c:pt idx="8">
                  <c:v>0.3129947207790714</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29</c:v>
                </c:pt>
                <c:pt idx="6">
                  <c:v>0.10564996279910281</c:v>
                </c:pt>
                <c:pt idx="7">
                  <c:v>0.2091400357628276</c:v>
                </c:pt>
                <c:pt idx="8">
                  <c:v>0.18189208301942128</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88</c:v>
                </c:pt>
                <c:pt idx="2">
                  <c:v>0.010825272627964894</c:v>
                </c:pt>
                <c:pt idx="3">
                  <c:v>0.013085022230190355</c:v>
                </c:pt>
                <c:pt idx="4">
                  <c:v>0.0227156576849857</c:v>
                </c:pt>
                <c:pt idx="5">
                  <c:v>0.1524147583644131</c:v>
                </c:pt>
                <c:pt idx="6">
                  <c:v>0.132604613326913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325718494863588</c:v>
                </c:pt>
                <c:pt idx="3">
                  <c:v>0.0010390500489843798</c:v>
                </c:pt>
                <c:pt idx="4">
                  <c:v>0.0007116564270688653</c:v>
                </c:pt>
                <c:pt idx="5">
                  <c:v>0.0028464754002435724</c:v>
                </c:pt>
                <c:pt idx="6">
                  <c:v>0.002175401498526393</c:v>
                </c:pt>
                <c:pt idx="7">
                  <c:v>0.006230260631537109</c:v>
                </c:pt>
                <c:pt idx="8">
                  <c:v>0.00733588427348152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4</c:v>
                </c:pt>
                <c:pt idx="4">
                  <c:v>0.052557201124251975</c:v>
                </c:pt>
                <c:pt idx="5">
                  <c:v>0.063701696813513</c:v>
                </c:pt>
                <c:pt idx="6">
                  <c:v>0.13085829476746524</c:v>
                </c:pt>
                <c:pt idx="7">
                  <c:v>0.1779074165462232</c:v>
                </c:pt>
                <c:pt idx="8">
                  <c:v>0.3818249301703123</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2</c:v>
                </c:pt>
                <c:pt idx="4">
                  <c:v>0.07359900122735238</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13356059179014013</c:v>
                </c:pt>
                <c:pt idx="4">
                  <c:v>0.032745011116607166</c:v>
                </c:pt>
                <c:pt idx="5">
                  <c:v>0.045656346239016515</c:v>
                </c:pt>
                <c:pt idx="6">
                  <c:v>0.022933793156152984</c:v>
                </c:pt>
                <c:pt idx="7">
                  <c:v>0.05305367056078226</c:v>
                </c:pt>
                <c:pt idx="8">
                  <c:v>0.016505258068993306</c:v>
                </c:pt>
                <c:pt idx="9">
                  <c:v>0.0148046837266855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4</c:v>
                </c:pt>
                <c:pt idx="5">
                  <c:v>0.07925451566522052</c:v>
                </c:pt>
                <c:pt idx="6">
                  <c:v>0.10057809753875298</c:v>
                </c:pt>
                <c:pt idx="7">
                  <c:v>0.25267661121730906</c:v>
                </c:pt>
                <c:pt idx="8">
                  <c:v>0.2504997063205352</c:v>
                </c:pt>
                <c:pt idx="9">
                  <c:v>0.15719468225499186</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6</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66</c:v>
                </c:pt>
                <c:pt idx="5">
                  <c:v>0.14858554007140798</c:v>
                </c:pt>
                <c:pt idx="6">
                  <c:v>0.13431405689832426</c:v>
                </c:pt>
                <c:pt idx="7">
                  <c:v>0.1745916432563837</c:v>
                </c:pt>
                <c:pt idx="8">
                  <c:v>0.24859878263049723</c:v>
                </c:pt>
                <c:pt idx="9">
                  <c:v>0.15784269013818414</c:v>
                </c:pt>
                <c:pt idx="10">
                  <c:v>0.0064393273631220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c:v>
                </c:pt>
                <c:pt idx="2">
                  <c:v>0.03615258354433721</c:v>
                </c:pt>
                <c:pt idx="3">
                  <c:v>0.025469849750860748</c:v>
                </c:pt>
                <c:pt idx="4">
                  <c:v>0.06481388038274538</c:v>
                </c:pt>
                <c:pt idx="5">
                  <c:v>0.0851977002451823</c:v>
                </c:pt>
                <c:pt idx="6">
                  <c:v>0.17447621527054127</c:v>
                </c:pt>
                <c:pt idx="7">
                  <c:v>0.20259246306990594</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433076220715705</c:v>
                </c:pt>
                <c:pt idx="2">
                  <c:v>0.015808316239147732</c:v>
                </c:pt>
                <c:pt idx="3">
                  <c:v>0.07953967284854058</c:v>
                </c:pt>
                <c:pt idx="4">
                  <c:v>0.04615894771834592</c:v>
                </c:pt>
                <c:pt idx="5">
                  <c:v>0.035006207408320195</c:v>
                </c:pt>
                <c:pt idx="6">
                  <c:v>0.010506928851688921</c:v>
                </c:pt>
                <c:pt idx="7">
                  <c:v>0.09102463177222263</c:v>
                </c:pt>
                <c:pt idx="8">
                  <c:v>0.0140937347927290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6</c:v>
                </c:pt>
                <c:pt idx="3">
                  <c:v>0.07568168528926024</c:v>
                </c:pt>
                <c:pt idx="4">
                  <c:v>0.0254269368312801</c:v>
                </c:pt>
                <c:pt idx="5">
                  <c:v>0.09477184033444332</c:v>
                </c:pt>
                <c:pt idx="6">
                  <c:v>0.12889598069765412</c:v>
                </c:pt>
                <c:pt idx="7">
                  <c:v>0.1342547122947091</c:v>
                </c:pt>
                <c:pt idx="8">
                  <c:v>0.32909591222530005</c:v>
                </c:pt>
                <c:pt idx="9">
                  <c:v>0.10836522028352405</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3</c:v>
                </c:pt>
                <c:pt idx="5">
                  <c:v>0.08160342549782428</c:v>
                </c:pt>
                <c:pt idx="6">
                  <c:v>0.12296985512425648</c:v>
                </c:pt>
                <c:pt idx="7">
                  <c:v>0.20932020763186437</c:v>
                </c:pt>
                <c:pt idx="8">
                  <c:v>0.14848773889644468</c:v>
                </c:pt>
                <c:pt idx="9">
                  <c:v>0.133445457865428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6</c:v>
                </c:pt>
                <c:pt idx="9">
                  <c:v>0.1320239700897362</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8</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c:v>
                </c:pt>
                <c:pt idx="3">
                  <c:v>0.03843574548168264</c:v>
                </c:pt>
                <c:pt idx="4">
                  <c:v>0.09221361436269074</c:v>
                </c:pt>
                <c:pt idx="5">
                  <c:v>0.23543198442819935</c:v>
                </c:pt>
                <c:pt idx="6">
                  <c:v>0.18117729862300258</c:v>
                </c:pt>
                <c:pt idx="7">
                  <c:v>0.2036851891080378</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6</c:v>
                </c:pt>
                <c:pt idx="6">
                  <c:v>0.1492795526346402</c:v>
                </c:pt>
                <c:pt idx="7">
                  <c:v>0.1322910637739103</c:v>
                </c:pt>
                <c:pt idx="8">
                  <c:v>0.3129947207790714</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29</c:v>
                </c:pt>
                <c:pt idx="6">
                  <c:v>0.10564996279910281</c:v>
                </c:pt>
                <c:pt idx="7">
                  <c:v>0.2091400357628276</c:v>
                </c:pt>
                <c:pt idx="8">
                  <c:v>0.18189208301942128</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618546593806815</c:v>
                </c:pt>
                <c:pt idx="8">
                  <c:v>0.01064244743802032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88</c:v>
                </c:pt>
                <c:pt idx="2">
                  <c:v>0.010825272627964894</c:v>
                </c:pt>
                <c:pt idx="3">
                  <c:v>0.013085022230190355</c:v>
                </c:pt>
                <c:pt idx="4">
                  <c:v>0.0227156576849857</c:v>
                </c:pt>
                <c:pt idx="5">
                  <c:v>0.1524147583644131</c:v>
                </c:pt>
                <c:pt idx="6">
                  <c:v>0.132604613326913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4</c:v>
                </c:pt>
                <c:pt idx="4">
                  <c:v>0.052557201124251975</c:v>
                </c:pt>
                <c:pt idx="5">
                  <c:v>0.063701696813513</c:v>
                </c:pt>
                <c:pt idx="6">
                  <c:v>0.13085829476746524</c:v>
                </c:pt>
                <c:pt idx="7">
                  <c:v>0.1779074165462232</c:v>
                </c:pt>
                <c:pt idx="8">
                  <c:v>0.3818249301703123</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6</c:v>
                </c:pt>
                <c:pt idx="1">
                  <c:v>0.015499323616429531</c:v>
                </c:pt>
                <c:pt idx="2">
                  <c:v>0.020328229017232035</c:v>
                </c:pt>
                <c:pt idx="3">
                  <c:v>0.04426378969025742</c:v>
                </c:pt>
                <c:pt idx="4">
                  <c:v>0.06509450789254997</c:v>
                </c:pt>
                <c:pt idx="5">
                  <c:v>0.10204826864942469</c:v>
                </c:pt>
                <c:pt idx="6">
                  <c:v>0.12638325694294628</c:v>
                </c:pt>
                <c:pt idx="7">
                  <c:v>0.1760557863873334</c:v>
                </c:pt>
                <c:pt idx="8">
                  <c:v>0.25472703021903487</c:v>
                </c:pt>
                <c:pt idx="9">
                  <c:v>0.09896421392959569</c:v>
                </c:pt>
                <c:pt idx="10">
                  <c:v>0.0778377920130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2</c:v>
                </c:pt>
                <c:pt idx="4">
                  <c:v>0.07359900122735238</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4</c:v>
                </c:pt>
                <c:pt idx="5">
                  <c:v>0.07925451566522052</c:v>
                </c:pt>
                <c:pt idx="6">
                  <c:v>0.10057809753875298</c:v>
                </c:pt>
                <c:pt idx="7">
                  <c:v>0.25267661121730906</c:v>
                </c:pt>
                <c:pt idx="8">
                  <c:v>0.2504997063205352</c:v>
                </c:pt>
                <c:pt idx="9">
                  <c:v>0.15719468225499186</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952786168172719</c:v>
                </c:pt>
                <c:pt idx="4">
                  <c:v>0.001594827612528732</c:v>
                </c:pt>
                <c:pt idx="5">
                  <c:v>0.007150901400826601</c:v>
                </c:pt>
                <c:pt idx="6">
                  <c:v>0.0026931181094080954</c:v>
                </c:pt>
                <c:pt idx="7">
                  <c:v>0.006850399193774648</c:v>
                </c:pt>
                <c:pt idx="8">
                  <c:v>0.00285981507725913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6</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7298040148804625</c:v>
                </c:pt>
                <c:pt idx="8">
                  <c:v>0.01297550588120280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66</c:v>
                </c:pt>
                <c:pt idx="5">
                  <c:v>0.14858554007140798</c:v>
                </c:pt>
                <c:pt idx="6">
                  <c:v>0.13431405689832426</c:v>
                </c:pt>
                <c:pt idx="7">
                  <c:v>0.1745916432563837</c:v>
                </c:pt>
                <c:pt idx="8">
                  <c:v>0.24859878263049723</c:v>
                </c:pt>
                <c:pt idx="9">
                  <c:v>0.15784269013818414</c:v>
                </c:pt>
                <c:pt idx="10">
                  <c:v>0.00643932736312209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c:v>
                </c:pt>
                <c:pt idx="2">
                  <c:v>0.03615258354433721</c:v>
                </c:pt>
                <c:pt idx="3">
                  <c:v>0.025469849750860748</c:v>
                </c:pt>
                <c:pt idx="4">
                  <c:v>0.06481388038274538</c:v>
                </c:pt>
                <c:pt idx="5">
                  <c:v>0.0851977002451823</c:v>
                </c:pt>
                <c:pt idx="6">
                  <c:v>0.17447621527054127</c:v>
                </c:pt>
                <c:pt idx="7">
                  <c:v>0.20259246306990594</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6</c:v>
                </c:pt>
                <c:pt idx="3">
                  <c:v>0.07568168528926024</c:v>
                </c:pt>
                <c:pt idx="4">
                  <c:v>0.0254269368312801</c:v>
                </c:pt>
                <c:pt idx="5">
                  <c:v>0.09477184033444332</c:v>
                </c:pt>
                <c:pt idx="6">
                  <c:v>0.12889598069765412</c:v>
                </c:pt>
                <c:pt idx="7">
                  <c:v>0.1342547122947091</c:v>
                </c:pt>
                <c:pt idx="8">
                  <c:v>0.32909591222530005</c:v>
                </c:pt>
                <c:pt idx="9">
                  <c:v>0.10836522028352405</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1896502549652692</c:v>
                </c:pt>
                <c:pt idx="6">
                  <c:v>0.01726077346311387</c:v>
                </c:pt>
                <c:pt idx="7">
                  <c:v>0.016311361300978516</c:v>
                </c:pt>
                <c:pt idx="8">
                  <c:v>0.08246515083130951</c:v>
                </c:pt>
                <c:pt idx="9">
                  <c:v>0.01140012387078055</c:v>
                </c:pt>
                <c:pt idx="10">
                  <c:v>0.000838038549225973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3</c:v>
                </c:pt>
                <c:pt idx="5">
                  <c:v>0.08160342549782428</c:v>
                </c:pt>
                <c:pt idx="6">
                  <c:v>0.12296985512425648</c:v>
                </c:pt>
                <c:pt idx="7">
                  <c:v>0.20932020763186437</c:v>
                </c:pt>
                <c:pt idx="8">
                  <c:v>0.14848773889644468</c:v>
                </c:pt>
                <c:pt idx="9">
                  <c:v>0.133445457865428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774110162039201</c:v>
                </c:pt>
                <c:pt idx="7">
                  <c:v>0.0011066114815078863</c:v>
                </c:pt>
                <c:pt idx="8">
                  <c:v>0.01283068706682528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6</c:v>
                </c:pt>
                <c:pt idx="9">
                  <c:v>0.1320239700897362</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8</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c:v>
                </c:pt>
                <c:pt idx="3">
                  <c:v>0.03843574548168264</c:v>
                </c:pt>
                <c:pt idx="4">
                  <c:v>0.09221361436269074</c:v>
                </c:pt>
                <c:pt idx="5">
                  <c:v>0.23543198442819935</c:v>
                </c:pt>
                <c:pt idx="6">
                  <c:v>0.18117729862300258</c:v>
                </c:pt>
                <c:pt idx="7">
                  <c:v>0.2036851891080378</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58</c:v>
                </c:pt>
                <c:pt idx="1">
                  <c:v>0.021306896673764057</c:v>
                </c:pt>
                <c:pt idx="2">
                  <c:v>0.025548831278795543</c:v>
                </c:pt>
                <c:pt idx="3">
                  <c:v>0.05776797036686218</c:v>
                </c:pt>
                <c:pt idx="4">
                  <c:v>0.07327807666778324</c:v>
                </c:pt>
                <c:pt idx="5">
                  <c:v>0.11719239595450313</c:v>
                </c:pt>
                <c:pt idx="6">
                  <c:v>0.13363631496397968</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597904123193365</c:v>
                </c:pt>
                <c:pt idx="4">
                  <c:v>0.003917576852268922</c:v>
                </c:pt>
                <c:pt idx="5">
                  <c:v>0.005462274682033424</c:v>
                </c:pt>
                <c:pt idx="6">
                  <c:v>0.0027437736051859835</c:v>
                </c:pt>
                <c:pt idx="7">
                  <c:v>0.0063472823685013615</c:v>
                </c:pt>
                <c:pt idx="8">
                  <c:v>0.001974670789438802</c:v>
                </c:pt>
                <c:pt idx="9">
                  <c:v>0.001771215959166699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898</c:v>
                </c:pt>
                <c:pt idx="1">
                  <c:v>0.009922473300098737</c:v>
                </c:pt>
                <c:pt idx="2">
                  <c:v>0.01623409034129284</c:v>
                </c:pt>
                <c:pt idx="3">
                  <c:v>0.07892262515697393</c:v>
                </c:pt>
                <c:pt idx="4">
                  <c:v>0.061134484543004734</c:v>
                </c:pt>
                <c:pt idx="5">
                  <c:v>0.11702285157285876</c:v>
                </c:pt>
                <c:pt idx="6">
                  <c:v>0.1260705027379858</c:v>
                </c:pt>
                <c:pt idx="7">
                  <c:v>0.17930534937108047</c:v>
                </c:pt>
                <c:pt idx="8">
                  <c:v>0.228569980379285</c:v>
                </c:pt>
                <c:pt idx="9">
                  <c:v>0.10314664132259939</c:v>
                </c:pt>
                <c:pt idx="10">
                  <c:v>0.064204748541880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958758522147822</c:v>
                </c:pt>
                <c:pt idx="3">
                  <c:v>0.009855509573822144</c:v>
                </c:pt>
                <c:pt idx="4">
                  <c:v>0.005719409382308783</c:v>
                </c:pt>
                <c:pt idx="5">
                  <c:v>0.004337508565227065</c:v>
                </c:pt>
                <c:pt idx="6">
                  <c:v>0.0013018803595844597</c:v>
                </c:pt>
                <c:pt idx="7">
                  <c:v>0.011278574549747292</c:v>
                </c:pt>
                <c:pt idx="8">
                  <c:v>0.00174631015198096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6</c:v>
                </c:pt>
                <c:pt idx="1">
                  <c:v>0.015499323616429531</c:v>
                </c:pt>
                <c:pt idx="2">
                  <c:v>0.020328229017232035</c:v>
                </c:pt>
                <c:pt idx="3">
                  <c:v>0.04426378969025742</c:v>
                </c:pt>
                <c:pt idx="4">
                  <c:v>0.06509450789254997</c:v>
                </c:pt>
                <c:pt idx="5">
                  <c:v>0.10204826864942469</c:v>
                </c:pt>
                <c:pt idx="6">
                  <c:v>0.12638325694294628</c:v>
                </c:pt>
                <c:pt idx="7">
                  <c:v>0.1760557863873334</c:v>
                </c:pt>
                <c:pt idx="8">
                  <c:v>0.25472703021903487</c:v>
                </c:pt>
                <c:pt idx="9">
                  <c:v>0.09896421392959569</c:v>
                </c:pt>
                <c:pt idx="10">
                  <c:v>0.0778377920130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046177697882767</c:v>
                </c:pt>
                <c:pt idx="6">
                  <c:v>0.001767732023351506</c:v>
                </c:pt>
                <c:pt idx="7">
                  <c:v>0.003407204552062407</c:v>
                </c:pt>
                <c:pt idx="8">
                  <c:v>0.01011097879677797</c:v>
                </c:pt>
                <c:pt idx="9">
                  <c:v>0.00103933115287854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58</c:v>
                </c:pt>
                <c:pt idx="1">
                  <c:v>0.021306896673764057</c:v>
                </c:pt>
                <c:pt idx="2">
                  <c:v>0.025548831278795543</c:v>
                </c:pt>
                <c:pt idx="3">
                  <c:v>0.05776797036686218</c:v>
                </c:pt>
                <c:pt idx="4">
                  <c:v>0.07327807666778324</c:v>
                </c:pt>
                <c:pt idx="5">
                  <c:v>0.11719239595450313</c:v>
                </c:pt>
                <c:pt idx="6">
                  <c:v>0.13363631496397968</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7133906303849374</c:v>
                </c:pt>
                <c:pt idx="6">
                  <c:v>0.0037208927261637654</c:v>
                </c:pt>
                <c:pt idx="7">
                  <c:v>0.00679273624153866</c:v>
                </c:pt>
                <c:pt idx="8">
                  <c:v>0.008278392075711362</c:v>
                </c:pt>
                <c:pt idx="9">
                  <c:v>0.00126254124755444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898</c:v>
                </c:pt>
                <c:pt idx="1">
                  <c:v>0.009922473300098737</c:v>
                </c:pt>
                <c:pt idx="2">
                  <c:v>0.01623409034129284</c:v>
                </c:pt>
                <c:pt idx="3">
                  <c:v>0.07892262515697393</c:v>
                </c:pt>
                <c:pt idx="4">
                  <c:v>0.061134484543004734</c:v>
                </c:pt>
                <c:pt idx="5">
                  <c:v>0.11702285157285876</c:v>
                </c:pt>
                <c:pt idx="6">
                  <c:v>0.1260705027379858</c:v>
                </c:pt>
                <c:pt idx="7">
                  <c:v>0.17930534937108047</c:v>
                </c:pt>
                <c:pt idx="8">
                  <c:v>0.228569980379285</c:v>
                </c:pt>
                <c:pt idx="9">
                  <c:v>0.10314664132259939</c:v>
                </c:pt>
                <c:pt idx="10">
                  <c:v>0.064204748541880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895253609845452</c:v>
                </c:pt>
                <c:pt idx="6">
                  <c:v>0.0037349618878602113</c:v>
                </c:pt>
                <c:pt idx="7">
                  <c:v>0.002741562254154543</c:v>
                </c:pt>
                <c:pt idx="8">
                  <c:v>0.015305374222457263</c:v>
                </c:pt>
                <c:pt idx="9">
                  <c:v>0.00176166010580018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78</c:v>
                </c:pt>
                <c:pt idx="2">
                  <c:v>0.021266939372631518</c:v>
                </c:pt>
                <c:pt idx="3">
                  <c:v>0.03945072467447183</c:v>
                </c:pt>
                <c:pt idx="4">
                  <c:v>0.051534564696052484</c:v>
                </c:pt>
                <c:pt idx="5">
                  <c:v>0.10248226676541282</c:v>
                </c:pt>
                <c:pt idx="6">
                  <c:v>0.13074905745117735</c:v>
                </c:pt>
                <c:pt idx="7">
                  <c:v>0.17785855434784298</c:v>
                </c:pt>
                <c:pt idx="8">
                  <c:v>0.2563887372525113</c:v>
                </c:pt>
                <c:pt idx="9">
                  <c:v>0.10346326897165924</c:v>
                </c:pt>
                <c:pt idx="10">
                  <c:v>0.0817657508124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4195014460198</c:v>
                </c:pt>
                <c:pt idx="3">
                  <c:v>0.0010915287386305847</c:v>
                </c:pt>
                <c:pt idx="4">
                  <c:v>0.0007475996396286247</c:v>
                </c:pt>
                <c:pt idx="5">
                  <c:v>0.002990240658963256</c:v>
                </c:pt>
                <c:pt idx="6">
                  <c:v>0.002285273222423277</c:v>
                </c:pt>
                <c:pt idx="7">
                  <c:v>0.006544928740563221</c:v>
                </c:pt>
                <c:pt idx="8">
                  <c:v>0.0077063934654543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3</c:v>
                </c:pt>
                <c:pt idx="7">
                  <c:v>0.128120390097668</c:v>
                </c:pt>
                <c:pt idx="8">
                  <c:v>0.22102038676692062</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5</c:v>
                </c:pt>
                <c:pt idx="1">
                  <c:v>0.022440013185811045</c:v>
                </c:pt>
                <c:pt idx="2">
                  <c:v>0.025308299426034544</c:v>
                </c:pt>
                <c:pt idx="3">
                  <c:v>0.05376235000431037</c:v>
                </c:pt>
                <c:pt idx="4">
                  <c:v>0.06047976889902426</c:v>
                </c:pt>
                <c:pt idx="5">
                  <c:v>0.11906086687087766</c:v>
                </c:pt>
                <c:pt idx="6">
                  <c:v>0.13389055283916435</c:v>
                </c:pt>
                <c:pt idx="7">
                  <c:v>0.1893638304637976</c:v>
                </c:pt>
                <c:pt idx="8">
                  <c:v>0.20795372780999538</c:v>
                </c:pt>
                <c:pt idx="9">
                  <c:v>0.13703616353638812</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846086397167409</c:v>
                </c:pt>
                <c:pt idx="7">
                  <c:v>0.007779802096760204</c:v>
                </c:pt>
                <c:pt idx="8">
                  <c:v>0.0072113753405669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8</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7667394670337</c:v>
                </c:pt>
                <c:pt idx="1">
                  <c:v>0.01059839761131851</c:v>
                </c:pt>
                <c:pt idx="2">
                  <c:v>0.017161497889988782</c:v>
                </c:pt>
                <c:pt idx="3">
                  <c:v>0.06657601141707845</c:v>
                </c:pt>
                <c:pt idx="4">
                  <c:v>0.04907978861913433</c:v>
                </c:pt>
                <c:pt idx="5">
                  <c:v>0.11852206218782732</c:v>
                </c:pt>
                <c:pt idx="6">
                  <c:v>0.13215882489295883</c:v>
                </c:pt>
                <c:pt idx="7">
                  <c:v>0.1798355664041859</c:v>
                </c:pt>
                <c:pt idx="8">
                  <c:v>0.23095884548151405</c:v>
                </c:pt>
                <c:pt idx="9">
                  <c:v>0.10991926140650649</c:v>
                </c:pt>
                <c:pt idx="10">
                  <c:v>0.068662076694817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58</c:v>
                </c:pt>
                <c:pt idx="1">
                  <c:v>0.021306896673764057</c:v>
                </c:pt>
                <c:pt idx="2">
                  <c:v>0.025548831278795543</c:v>
                </c:pt>
                <c:pt idx="3">
                  <c:v>0.05776797036686218</c:v>
                </c:pt>
                <c:pt idx="4">
                  <c:v>0.07327807666778324</c:v>
                </c:pt>
                <c:pt idx="5">
                  <c:v>0.11719239595450313</c:v>
                </c:pt>
                <c:pt idx="6">
                  <c:v>0.13363631496397968</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975844533108533</c:v>
                </c:pt>
                <c:pt idx="2">
                  <c:v>0.004096886284363259</c:v>
                </c:pt>
                <c:pt idx="5">
                  <c:v>0.00496373034286465</c:v>
                </c:pt>
                <c:pt idx="6">
                  <c:v>0.003812679622738398</c:v>
                </c:pt>
                <c:pt idx="7">
                  <c:v>0.0063940046027105525</c:v>
                </c:pt>
                <c:pt idx="8">
                  <c:v>0.0082263324437930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91005521236</c:v>
                </c:pt>
                <c:pt idx="1">
                  <c:v>0.016251035103638078</c:v>
                </c:pt>
                <c:pt idx="2">
                  <c:v>0.021266939372631518</c:v>
                </c:pt>
                <c:pt idx="3">
                  <c:v>0.03945072467447183</c:v>
                </c:pt>
                <c:pt idx="4">
                  <c:v>0.051534564696052484</c:v>
                </c:pt>
                <c:pt idx="5">
                  <c:v>0.10248226676541282</c:v>
                </c:pt>
                <c:pt idx="6">
                  <c:v>0.13074905745117735</c:v>
                </c:pt>
                <c:pt idx="7">
                  <c:v>0.17785855434784298</c:v>
                </c:pt>
                <c:pt idx="8">
                  <c:v>0.2563887372525113</c:v>
                </c:pt>
                <c:pt idx="9">
                  <c:v>0.10346326897165924</c:v>
                </c:pt>
                <c:pt idx="10">
                  <c:v>0.081765750812478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0907978731899</c:v>
                </c:pt>
                <c:pt idx="4">
                  <c:v>0.0016753766326639032</c:v>
                </c:pt>
                <c:pt idx="5">
                  <c:v>0.007512067771658688</c:v>
                </c:pt>
                <c:pt idx="6">
                  <c:v>0.0028291378416455807</c:v>
                </c:pt>
                <c:pt idx="7">
                  <c:v>0.0071963882763930506</c:v>
                </c:pt>
                <c:pt idx="8">
                  <c:v>0.00300425407519933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3</c:v>
                </c:pt>
                <c:pt idx="7">
                  <c:v>0.128120390097668</c:v>
                </c:pt>
                <c:pt idx="8">
                  <c:v>0.22102038676692062</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5773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12872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248937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6183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3084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865869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404930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297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90628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426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99072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2354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3170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15731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70311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35479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4333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56840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9865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38166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8019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52397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3265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647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845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86373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200642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4889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106885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00412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1687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3086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2006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432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0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5993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